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8"/>
  </p:notesMasterIdLst>
  <p:sldIdLst>
    <p:sldId id="277" r:id="rId2"/>
    <p:sldId id="287" r:id="rId3"/>
    <p:sldId id="298" r:id="rId4"/>
    <p:sldId id="295" r:id="rId5"/>
    <p:sldId id="297" r:id="rId6"/>
    <p:sldId id="260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360A6F1-2E52-4E71-8D20-3B52061C0D7F}">
          <p14:sldIdLst>
            <p14:sldId id="277"/>
            <p14:sldId id="287"/>
            <p14:sldId id="298"/>
            <p14:sldId id="295"/>
            <p14:sldId id="297"/>
          </p14:sldIdLst>
        </p14:section>
        <p14:section name="Untitled Section" id="{61D8E25D-C024-4074-8233-3784BD32DDD4}">
          <p14:sldIdLst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90" y="9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ED9FA-CD92-44C1-9257-83E6A60456C6}" type="datetimeFigureOut">
              <a:rPr lang="en-IN" smtClean="0"/>
              <a:t>04-07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B56E86-9165-43F5-9C6D-F235B9A867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891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="" xmlns:a16="http://schemas.microsoft.com/office/drawing/2014/main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15619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="" xmlns:a16="http://schemas.microsoft.com/office/drawing/2014/main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</a:t>
            </a:r>
            <a:r>
              <a:rPr lang="en-US" sz="1200" dirty="0" smtClean="0">
                <a:solidFill>
                  <a:prstClr val="white"/>
                </a:solidFill>
                <a:cs typeface="Arial" panose="020B0604020202020204" pitchFamily="34" charset="0"/>
              </a:rPr>
              <a:t>2023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 smtClean="0">
                <a:solidFill>
                  <a:srgbClr val="002060"/>
                </a:solidFill>
              </a:rPr>
              <a:t>Thank You</a:t>
            </a:r>
            <a:endParaRPr lang="en-IN" sz="60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77575" y="4346917"/>
            <a:ext cx="5214425" cy="1378634"/>
          </a:xfrm>
        </p:spPr>
        <p:txBody>
          <a:bodyPr/>
          <a:lstStyle/>
          <a:p>
            <a:pPr algn="ctr"/>
            <a:r>
              <a:rPr lang="en-IN" sz="6000" dirty="0" smtClean="0"/>
              <a:t>Avolta</a:t>
            </a:r>
            <a:endParaRPr lang="en-IN" sz="6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04558" y="5915465"/>
            <a:ext cx="3957406" cy="281353"/>
          </a:xfrm>
        </p:spPr>
        <p:txBody>
          <a:bodyPr/>
          <a:lstStyle/>
          <a:p>
            <a:r>
              <a:rPr lang="en-IN" sz="2400" dirty="0" smtClean="0"/>
              <a:t>July-04-2024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121142291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volta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3545" y="1153551"/>
            <a:ext cx="7922455" cy="502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59264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/>
              <a:t>Avolta</a:t>
            </a:r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281354" y="1125415"/>
            <a:ext cx="1170432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/>
              <a:t>Introduction to </a:t>
            </a:r>
            <a:r>
              <a:rPr lang="en-IN" sz="2000" b="1" dirty="0" err="1"/>
              <a:t>Avolta</a:t>
            </a:r>
            <a:r>
              <a:rPr lang="en-US" sz="2000" b="1" dirty="0" smtClean="0"/>
              <a:t>:</a:t>
            </a:r>
          </a:p>
          <a:p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Avolta  </a:t>
            </a:r>
            <a:r>
              <a:rPr lang="en-US" sz="2000" dirty="0"/>
              <a:t>(formerly </a:t>
            </a:r>
            <a:r>
              <a:rPr lang="en-US" sz="2000" dirty="0" smtClean="0"/>
              <a:t>Dufry </a:t>
            </a:r>
            <a:r>
              <a:rPr lang="en-US" sz="2000" dirty="0"/>
              <a:t>until November 2023</a:t>
            </a:r>
            <a:r>
              <a:rPr lang="en-US" sz="2000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wiss-based travel retailer with a global </a:t>
            </a:r>
            <a:r>
              <a:rPr lang="en-US" sz="2000" dirty="0" smtClean="0"/>
              <a:t>pres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perates duty-free and duty-paid shops and convenience </a:t>
            </a:r>
            <a:r>
              <a:rPr lang="en-US" sz="2000" dirty="0" smtClean="0"/>
              <a:t>stores</a:t>
            </a:r>
          </a:p>
          <a:p>
            <a:endParaRPr lang="en-US" sz="2000" dirty="0"/>
          </a:p>
          <a:p>
            <a:r>
              <a:rPr lang="en-IN" sz="2000" b="1" dirty="0"/>
              <a:t>Store Locations</a:t>
            </a:r>
            <a:r>
              <a:rPr lang="en-US" sz="2000" b="1" dirty="0" smtClean="0"/>
              <a:t>: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Airports</a:t>
            </a:r>
            <a:r>
              <a:rPr lang="en-US" sz="2000" dirty="0"/>
              <a:t>: Comprehensive retail offerings in major international </a:t>
            </a:r>
            <a:r>
              <a:rPr lang="en-US" sz="2000" dirty="0" smtClean="0"/>
              <a:t>airpo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Seaports</a:t>
            </a:r>
            <a:r>
              <a:rPr lang="en-US" sz="2000" dirty="0"/>
              <a:t>: Retail stores located at key </a:t>
            </a:r>
            <a:r>
              <a:rPr lang="en-US" sz="2000" dirty="0" smtClean="0"/>
              <a:t>seapo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Railway Stations</a:t>
            </a:r>
            <a:r>
              <a:rPr lang="en-US" sz="2000" dirty="0"/>
              <a:t>: Convenient stores at railway </a:t>
            </a:r>
            <a:r>
              <a:rPr lang="en-US" sz="2000" dirty="0" smtClean="0"/>
              <a:t>st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r>
              <a:rPr lang="en-IN" sz="2000" b="1" dirty="0"/>
              <a:t>Company Facts</a:t>
            </a:r>
            <a:r>
              <a:rPr lang="en-US" sz="2000" b="1" dirty="0" smtClean="0"/>
              <a:t>: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Headquartered in Basel, </a:t>
            </a:r>
            <a:r>
              <a:rPr lang="en-IN" sz="2000" dirty="0" smtClean="0"/>
              <a:t>Switzerl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000" dirty="0"/>
              <a:t>Employs almost 36,000 </a:t>
            </a:r>
            <a:r>
              <a:rPr lang="en-IN" sz="2000" dirty="0" smtClean="0"/>
              <a:t>peop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perations in over 65 countries worldwid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4352782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309489"/>
            <a:ext cx="11882511" cy="512146"/>
          </a:xfrm>
        </p:spPr>
        <p:txBody>
          <a:bodyPr>
            <a:normAutofit fontScale="90000"/>
          </a:bodyPr>
          <a:lstStyle/>
          <a:p>
            <a:r>
              <a:rPr lang="en-IN" dirty="0"/>
              <a:t>Identifying the Proble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446" y="998806"/>
            <a:ext cx="8274367" cy="5275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52844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309489"/>
            <a:ext cx="11882511" cy="512146"/>
          </a:xfrm>
        </p:spPr>
        <p:txBody>
          <a:bodyPr>
            <a:normAutofit fontScale="90000"/>
          </a:bodyPr>
          <a:lstStyle/>
          <a:p>
            <a:r>
              <a:rPr lang="en-IN" dirty="0"/>
              <a:t>Proposed Solu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4512" y="1252025"/>
            <a:ext cx="8562975" cy="5210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3397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22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C0DD746-69AB-44FE-A623-E5481FCD5FAF}" vid="{06C4BFF9-4046-44A4-BCC8-D84B3DB2D2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026</TotalTime>
  <Words>82</Words>
  <Application>Microsoft Office PowerPoint</Application>
  <PresentationFormat>Widescreen</PresentationFormat>
  <Paragraphs>2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Default Theme</vt:lpstr>
      <vt:lpstr>think-cell Slide</vt:lpstr>
      <vt:lpstr>Avolta</vt:lpstr>
      <vt:lpstr>Avolta</vt:lpstr>
      <vt:lpstr>Avolta</vt:lpstr>
      <vt:lpstr>Identifying the Problem</vt:lpstr>
      <vt:lpstr>Proposed Solution</vt:lpstr>
      <vt:lpstr>PowerPoint Presentation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Pradeep E</cp:lastModifiedBy>
  <cp:revision>185</cp:revision>
  <dcterms:created xsi:type="dcterms:W3CDTF">2023-01-03T09:22:10Z</dcterms:created>
  <dcterms:modified xsi:type="dcterms:W3CDTF">2024-07-04T09:30:44Z</dcterms:modified>
</cp:coreProperties>
</file>